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0"/>
  </p:notesMasterIdLst>
  <p:sldIdLst>
    <p:sldId id="266" r:id="rId2"/>
    <p:sldId id="267" r:id="rId3"/>
    <p:sldId id="277" r:id="rId4"/>
    <p:sldId id="323" r:id="rId5"/>
    <p:sldId id="321" r:id="rId6"/>
    <p:sldId id="327" r:id="rId7"/>
    <p:sldId id="322" r:id="rId8"/>
    <p:sldId id="331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85C9"/>
    <a:srgbClr val="9A9EAA"/>
    <a:srgbClr val="E5D2C4"/>
    <a:srgbClr val="F1DCC7"/>
    <a:srgbClr val="F5E1C8"/>
    <a:srgbClr val="FCF1D1"/>
    <a:srgbClr val="FAF9DB"/>
    <a:srgbClr val="BFBFBF"/>
    <a:srgbClr val="DEE3EA"/>
    <a:srgbClr val="BEC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312" y="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4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2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692771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  <a:r>
              <a:rPr lang="en-US" b="0" dirty="0"/>
              <a:t>App download: QR Code</a:t>
            </a:r>
            <a:endParaRPr lang="en-US" altLang="zh-CN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en-US" dirty="0">
                <a:solidFill>
                  <a:srgbClr val="FF0000"/>
                </a:solidFill>
                <a:latin typeface="BMW Group Condensed" panose="020B0606020202020204" pitchFamily="34" charset="0"/>
              </a:rPr>
              <a:t>Describes how to host the App and QR code generation</a:t>
            </a:r>
            <a:endParaRPr lang="en-US" altLang="zh-CN" dirty="0" smtClean="0">
              <a:solidFill>
                <a:srgbClr val="FF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348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2: </a:t>
            </a:r>
            <a:r>
              <a:rPr lang="en-US" b="0" dirty="0"/>
              <a:t>App download: QR Cod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S-S001-JZ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o scan a QR code to download the app, so that I can process an </a:t>
            </a:r>
            <a:r>
              <a:rPr lang="en-US" dirty="0" smtClean="0">
                <a:solidFill>
                  <a:srgbClr val="172B4D"/>
                </a:solidFill>
              </a:rPr>
              <a:t>application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S-S002-JZ</a:t>
            </a:r>
            <a:r>
              <a:rPr lang="en-US" dirty="0">
                <a:solidFill>
                  <a:srgbClr val="0070C0"/>
                </a:solidFill>
              </a:rPr>
              <a:t>: </a:t>
            </a: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 user, I want to scan a QR code in app, so that I can get information </a:t>
            </a:r>
            <a:r>
              <a:rPr lang="en-US" dirty="0" smtClean="0">
                <a:solidFill>
                  <a:srgbClr val="172B4D"/>
                </a:solidFill>
              </a:rPr>
              <a:t>prefilled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S-S000-JZ</a:t>
            </a:r>
            <a:r>
              <a:rPr lang="en-US" dirty="0">
                <a:solidFill>
                  <a:srgbClr val="0070C0"/>
                </a:solidFill>
              </a:rPr>
              <a:t>: </a:t>
            </a: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As an F&amp;I, I want to generate the QR code for user, so that they can have a application with prefilled </a:t>
            </a:r>
            <a:r>
              <a:rPr lang="en-US" dirty="0" smtClean="0">
                <a:solidFill>
                  <a:srgbClr val="172B4D"/>
                </a:solidFill>
              </a:rPr>
              <a:t>information.</a:t>
            </a:r>
            <a:endParaRPr lang="en-US" dirty="0">
              <a:solidFill>
                <a:srgbClr val="172B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899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1-JZ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scan a QR code to download the app, so that I can process an application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in dealer site. 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would like to apply from their own device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re must be a site to download app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>
                <a:solidFill>
                  <a:srgbClr val="172B4D"/>
                </a:solidFill>
              </a:rPr>
              <a:t>The site should apply to BMW standard</a:t>
            </a:r>
          </a:p>
          <a:p>
            <a:r>
              <a:rPr lang="en-US" dirty="0">
                <a:solidFill>
                  <a:srgbClr val="172B4D"/>
                </a:solidFill>
              </a:rPr>
              <a:t>If QR code is posted, poster must align with BMW standard</a:t>
            </a:r>
            <a:endParaRPr lang="en-US" dirty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7" name="Oval 6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27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241251" y="157375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nstall app?</a:t>
            </a: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15985" y="3606664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nstall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572123" y="3606663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327779" y="157897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MW </a:t>
            </a:r>
            <a:r>
              <a:rPr lang="en-US" altLang="zh-CN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asy Finance Download Page</a:t>
            </a: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lease Click below links to download Application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509568" y="3908325"/>
            <a:ext cx="2217042" cy="315311"/>
          </a:xfrm>
          <a:prstGeom prst="rect">
            <a:avLst/>
          </a:prstGeom>
          <a:solidFill>
            <a:srgbClr val="00B0F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ndroid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23255" y="3334956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O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88948" y="1593115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pen one app with scan function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499258" y="157375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can QR code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798" y="3080127"/>
            <a:ext cx="2560277" cy="19717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7980" y="2927744"/>
            <a:ext cx="2514600" cy="227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S-S002-JZ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scan a QR code in app, so that I can get information prefilled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in dealer site. 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would like to apply from their own device.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has selected a product/SF product, and doesn’t want to input again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has downloaded the app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The app can scan QR code and parse the information from QR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QR code should be parsed, and prefill the product information (vehicle info to map into web calculator) in </a:t>
            </a:r>
            <a:r>
              <a:rPr lang="en-US" dirty="0" err="1" smtClean="0">
                <a:solidFill>
                  <a:srgbClr val="172B4D"/>
                </a:solidFill>
              </a:rPr>
              <a:t>eApp</a:t>
            </a:r>
            <a:endParaRPr lang="en-US" dirty="0" smtClean="0">
              <a:solidFill>
                <a:srgbClr val="172B4D"/>
              </a:solidFill>
            </a:endParaRPr>
          </a:p>
          <a:p>
            <a:r>
              <a:rPr lang="en-US" dirty="0" smtClean="0">
                <a:solidFill>
                  <a:srgbClr val="172B4D"/>
                </a:solidFill>
              </a:rPr>
              <a:t>The page from QR code should not be displayed by other browsers</a:t>
            </a:r>
            <a:endParaRPr lang="en-US" dirty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282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ireframes </a:t>
            </a:r>
            <a:r>
              <a:rPr lang="en-US" altLang="zh-CN" dirty="0" smtClean="0"/>
              <a:t>&amp; Mockups</a:t>
            </a:r>
            <a:r>
              <a:rPr lang="en-US" dirty="0" smtClean="0"/>
              <a:t>: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756" y="1671406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605" y="1781453"/>
            <a:ext cx="297718" cy="29771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2564" y="1671406"/>
            <a:ext cx="2579898" cy="4588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9119504" y="2539093"/>
            <a:ext cx="783772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北京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977990" y="4782105"/>
            <a:ext cx="783772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25i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437496" y="4782105"/>
            <a:ext cx="932631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1100" b="1" dirty="0"/>
              <a:t>M</a:t>
            </a:r>
            <a:r>
              <a:rPr lang="zh-CN" altLang="en-US" sz="1100" b="1" dirty="0"/>
              <a:t>运动套装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8" name="Elbow Connector 7"/>
          <p:cNvCxnSpPr>
            <a:stCxn id="4" idx="3"/>
            <a:endCxn id="34" idx="1"/>
          </p:cNvCxnSpPr>
          <p:nvPr/>
        </p:nvCxnSpPr>
        <p:spPr>
          <a:xfrm>
            <a:off x="2898323" y="1930312"/>
            <a:ext cx="1958594" cy="2025117"/>
          </a:xfrm>
          <a:prstGeom prst="bentConnector3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44978" y="6260184"/>
            <a:ext cx="2355675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 QR code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scanner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530066" y="6225469"/>
            <a:ext cx="1534886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can QR cod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986444" y="6219681"/>
            <a:ext cx="2392137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ill the vehicle information from DFE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892563" y="3283228"/>
            <a:ext cx="2477563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北京华德宝汽车销售服务有限公司</a:t>
            </a:r>
            <a:endParaRPr lang="en-US" sz="1800" b="1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6917" y="1679570"/>
            <a:ext cx="2560341" cy="4551717"/>
          </a:xfrm>
          <a:prstGeom prst="rect">
            <a:avLst/>
          </a:prstGeom>
        </p:spPr>
      </p:pic>
      <p:cxnSp>
        <p:nvCxnSpPr>
          <p:cNvPr id="38" name="Straight Arrow Connector 37"/>
          <p:cNvCxnSpPr>
            <a:stCxn id="34" idx="3"/>
            <a:endCxn id="23" idx="1"/>
          </p:cNvCxnSpPr>
          <p:nvPr/>
        </p:nvCxnSpPr>
        <p:spPr>
          <a:xfrm>
            <a:off x="7417258" y="3955429"/>
            <a:ext cx="1475306" cy="10366"/>
          </a:xfrm>
          <a:prstGeom prst="straightConnector1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164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S-S003-JZ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n F&amp;I, I want to generate the QR code for user, so that they can have a application with prefilled information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in dealer site. </a:t>
            </a:r>
          </a:p>
          <a:p>
            <a:r>
              <a:rPr lang="en-US" dirty="0" smtClean="0">
                <a:solidFill>
                  <a:srgbClr val="172B4D"/>
                </a:solidFill>
                <a:latin typeface="+mj-lt"/>
              </a:rPr>
              <a:t>User would like to apply from their own device.</a:t>
            </a:r>
          </a:p>
          <a:p>
            <a:pPr mar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dirty="0">
                <a:solidFill>
                  <a:srgbClr val="172B4D"/>
                </a:solidFill>
              </a:rPr>
              <a:t>User has downloaded the app</a:t>
            </a:r>
          </a:p>
          <a:p>
            <a:r>
              <a:rPr lang="en-US" dirty="0">
                <a:solidFill>
                  <a:srgbClr val="172B4D"/>
                </a:solidFill>
              </a:rPr>
              <a:t>The app can scan QR code and parse the information from QR</a:t>
            </a:r>
          </a:p>
          <a:p>
            <a:pPr marL="0" lvl="0" indent="0">
              <a:buNone/>
            </a:pPr>
            <a:r>
              <a:rPr lang="en-US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QR should contain all information from DFE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The </a:t>
            </a:r>
            <a:r>
              <a:rPr lang="en-US" dirty="0">
                <a:solidFill>
                  <a:srgbClr val="172B4D"/>
                </a:solidFill>
              </a:rPr>
              <a:t>QR code should be parsed, and prefill the information in </a:t>
            </a:r>
            <a:r>
              <a:rPr lang="en-US" dirty="0" err="1">
                <a:solidFill>
                  <a:srgbClr val="172B4D"/>
                </a:solidFill>
              </a:rPr>
              <a:t>eApp</a:t>
            </a:r>
            <a:endParaRPr lang="en-US" dirty="0">
              <a:solidFill>
                <a:srgbClr val="172B4D"/>
              </a:solidFill>
            </a:endParaRPr>
          </a:p>
          <a:p>
            <a:r>
              <a:rPr lang="en-US" dirty="0">
                <a:solidFill>
                  <a:srgbClr val="172B4D"/>
                </a:solidFill>
              </a:rPr>
              <a:t>The page from QR code should not be displayed by other browsers</a:t>
            </a:r>
            <a:endParaRPr lang="en-US" dirty="0"/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22" name="Oval 21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440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469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287" imgH="288" progId="TCLayout.ActiveDocument.1">
                  <p:embed/>
                </p:oleObj>
              </mc:Choice>
              <mc:Fallback>
                <p:oleObj name="think-cell Slide" r:id="rId5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u="none" dirty="0" err="1" smtClean="0">
              <a:solidFill>
                <a:srgbClr val="666666"/>
              </a:solidFill>
              <a:latin typeface="BMW Group Condensed" panose="020B0606020202020204" pitchFamily="34" charset="0"/>
              <a:sym typeface="BMW Group Condensed" panose="020B0606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ireframes </a:t>
            </a:r>
            <a:r>
              <a:rPr lang="en-US" altLang="zh-CN" dirty="0" smtClean="0"/>
              <a:t>&amp; </a:t>
            </a: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1963318"/>
            <a:ext cx="4338516" cy="2943417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1249136" y="5029200"/>
            <a:ext cx="987878" cy="253093"/>
          </a:xfrm>
          <a:prstGeom prst="roundRect">
            <a:avLst/>
          </a:prstGeom>
          <a:solidFill>
            <a:srgbClr val="0885C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0" i="0" u="none" baseline="0" dirty="0" err="1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omfirm</a:t>
            </a:r>
            <a:endParaRPr lang="en-US" sz="12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789465" y="5029200"/>
            <a:ext cx="987878" cy="253093"/>
          </a:xfrm>
          <a:prstGeom prst="roundRect">
            <a:avLst/>
          </a:prstGeom>
          <a:solidFill>
            <a:srgbClr val="0885C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  <a:latin typeface="BMW Group Condensed" panose="020B0606020202020204" pitchFamily="34" charset="0"/>
              </a:rPr>
              <a:t>Generate QR code</a:t>
            </a:r>
            <a:endParaRPr lang="en-US" sz="120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112" y="1963318"/>
            <a:ext cx="4338516" cy="294341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877821" y="2743200"/>
            <a:ext cx="2130878" cy="22860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6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lease let customer scan QR</a:t>
            </a:r>
            <a:r>
              <a:rPr lang="en-US" altLang="zh-CN" sz="16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code with </a:t>
            </a:r>
            <a:r>
              <a:rPr lang="en-US" altLang="zh-CN" sz="1600" b="0" i="0" u="none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App</a:t>
            </a:r>
            <a:endParaRPr lang="en-US" sz="16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10008" y="3435026"/>
            <a:ext cx="1266503" cy="1146569"/>
          </a:xfrm>
          <a:prstGeom prst="rect">
            <a:avLst/>
          </a:prstGeom>
        </p:spPr>
      </p:pic>
      <p:sp>
        <p:nvSpPr>
          <p:cNvPr id="28" name="Rounded Rectangle 27"/>
          <p:cNvSpPr/>
          <p:nvPr/>
        </p:nvSpPr>
        <p:spPr>
          <a:xfrm>
            <a:off x="8449320" y="4704060"/>
            <a:ext cx="987878" cy="253093"/>
          </a:xfrm>
          <a:prstGeom prst="roundRect">
            <a:avLst/>
          </a:prstGeom>
          <a:solidFill>
            <a:srgbClr val="0885C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2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Close</a:t>
            </a:r>
            <a:endParaRPr lang="en-US" sz="12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0" name="Elbow Connector 29"/>
          <p:cNvCxnSpPr>
            <a:stCxn id="19" idx="3"/>
            <a:endCxn id="20" idx="1"/>
          </p:cNvCxnSpPr>
          <p:nvPr/>
        </p:nvCxnSpPr>
        <p:spPr>
          <a:xfrm flipV="1">
            <a:off x="3777343" y="3435027"/>
            <a:ext cx="2815769" cy="1720720"/>
          </a:xfrm>
          <a:prstGeom prst="bentConnector3">
            <a:avLst/>
          </a:prstGeom>
          <a:ln w="12700">
            <a:solidFill>
              <a:srgbClr val="92A2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95993" y="5551714"/>
            <a:ext cx="4231471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&amp;I input information in DF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icks “Generate QR”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890657" y="5551714"/>
            <a:ext cx="4384222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R code will generate accordingly and pop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up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54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DvjEKITAKdE3v967JGsw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524</Words>
  <Application>Microsoft Office PowerPoint</Application>
  <PresentationFormat>Widescreen</PresentationFormat>
  <Paragraphs>11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think-cell Slide</vt:lpstr>
      <vt:lpstr>PowerPoint Presentation</vt:lpstr>
      <vt:lpstr>EF-EP-002: App download: QR Code</vt:lpstr>
      <vt:lpstr>Story ID: ES-S001-JZ: </vt:lpstr>
      <vt:lpstr>Story ID: ES-S000 </vt:lpstr>
      <vt:lpstr>Story ID: ES-S002-JZ: </vt:lpstr>
      <vt:lpstr>Story ID: ES-S000 </vt:lpstr>
      <vt:lpstr>Story ID: ES-S003-JZ: </vt:lpstr>
      <vt:lpstr>Story ID: ES-S000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Zhu Jichao, FG-CN-2</cp:lastModifiedBy>
  <cp:revision>221</cp:revision>
  <dcterms:created xsi:type="dcterms:W3CDTF">2017-04-27T07:24:45Z</dcterms:created>
  <dcterms:modified xsi:type="dcterms:W3CDTF">2018-10-24T01:54:40Z</dcterms:modified>
</cp:coreProperties>
</file>